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8805FB5A-0F03-4E7D-97B7-45622AF91F1A}">
          <p14:sldIdLst>
            <p14:sldId id="2147475173"/>
            <p14:sldId id="2147475174"/>
            <p14:sldId id="2147475175"/>
            <p14:sldId id="2147475176"/>
            <p14:sldId id="2147475177"/>
            <p14:sldId id="2147475178"/>
          </p14:sldIdLst>
        </p14:section>
        <p14:section name="Brackets By Retailer By Sector" id="{17586098-0781-49EF-A7FC-081F1654E3A1}">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D906FC80-8FB6-43B2-8CF3-D7D52DF4C5E1}">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4029418547897473E-3</c:v>
                </c:pt>
                <c:pt idx="4">
                  <c:v>0.31570251627221058</c:v>
                </c:pt>
                <c:pt idx="5">
                  <c:v>0.677872785631483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891506821952563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8724017404071293E-2</c:v>
                </c:pt>
                <c:pt idx="4">
                  <c:v>0.89975416335213909</c:v>
                </c:pt>
                <c:pt idx="5">
                  <c:v>1.15207202342994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628799712361637</c:v>
                </c:pt>
                <c:pt idx="5">
                  <c:v>0.693712002876383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48547039866676</c:v>
                </c:pt>
                <c:pt idx="5">
                  <c:v>0.745145296013332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4286208207628E-3</c:v>
                </c:pt>
                <c:pt idx="4">
                  <c:v>0.98967996785572576</c:v>
                </c:pt>
                <c:pt idx="5">
                  <c:v>1.00574593606659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7135287829923273E-2</c:v>
                </c:pt>
                <c:pt idx="4">
                  <c:v>0.96218252035011009</c:v>
                </c:pt>
                <c:pt idx="5">
                  <c:v>1.05926236278515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67893497806912E-3</c:v>
                </c:pt>
                <c:pt idx="4">
                  <c:v>0.98969537181270861</c:v>
                </c:pt>
                <c:pt idx="5">
                  <c:v>9.8783883751082545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09821276834247</c:v>
                </c:pt>
                <c:pt idx="5">
                  <c:v>0.800899293927655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0.260893134008696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0183576869268158</c:v>
                </c:pt>
                <c:pt idx="5">
                  <c:v>0.79816423130731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787515360340129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691618756728132E-2</c:v>
                </c:pt>
                <c:pt idx="5">
                  <c:v>0.984293683057960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5929917078189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897948502065427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7349129115177414</c:v>
                </c:pt>
                <c:pt idx="5">
                  <c:v>0.826508708848225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4782936356558503E-3</c:v>
                </c:pt>
                <c:pt idx="5">
                  <c:v>0.998521706364344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0043904862287075E-3</c:v>
                </c:pt>
                <c:pt idx="4">
                  <c:v>0.48244470402663914</c:v>
                </c:pt>
                <c:pt idx="5">
                  <c:v>0.511549067008742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5491384163766513</c:v>
                </c:pt>
                <c:pt idx="5">
                  <c:v>0.545086158362334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4029418547897473E-3</c:v>
                </c:pt>
                <c:pt idx="4">
                  <c:v>0.31570251627221058</c:v>
                </c:pt>
                <c:pt idx="5">
                  <c:v>0.677872785631483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8158784715439398E-2</c:v>
                </c:pt>
                <c:pt idx="4">
                  <c:v>0.93052216816424571</c:v>
                </c:pt>
                <c:pt idx="5">
                  <c:v>2.131904712031498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2925219022994495</c:v>
                </c:pt>
                <c:pt idx="5">
                  <c:v>0.670747809770054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969444933101009</c:v>
                </c:pt>
                <c:pt idx="5">
                  <c:v>0.69030555066899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6694357771583469E-3</c:v>
                </c:pt>
                <c:pt idx="5">
                  <c:v>0.990330564222841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1.1214428017079657E-2</c:v>
                </c:pt>
                <c:pt idx="4">
                  <c:v>0.39316479699998952</c:v>
                </c:pt>
                <c:pt idx="5">
                  <c:v>0.595620636070036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663151136113565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110215436405622</c:v>
                </c:pt>
                <c:pt idx="5">
                  <c:v>0.58897845635943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8724017404071293E-2</c:v>
                </c:pt>
                <c:pt idx="4">
                  <c:v>0.89975416335213909</c:v>
                </c:pt>
                <c:pt idx="5">
                  <c:v>1.15207202342994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628799712361637</c:v>
                </c:pt>
                <c:pt idx="5">
                  <c:v>0.693712002876383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48547039866676</c:v>
                </c:pt>
                <c:pt idx="5">
                  <c:v>0.745145296013332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4286208207628E-3</c:v>
                </c:pt>
                <c:pt idx="4">
                  <c:v>0.98967996785572576</c:v>
                </c:pt>
                <c:pt idx="5">
                  <c:v>1.00574593606659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67893497806912E-3</c:v>
                </c:pt>
                <c:pt idx="4">
                  <c:v>0.98969537181270861</c:v>
                </c:pt>
                <c:pt idx="5">
                  <c:v>9.8783883751082545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09821276834247</c:v>
                </c:pt>
                <c:pt idx="5">
                  <c:v>0.800899293927655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0183576869268158</c:v>
                </c:pt>
                <c:pt idx="5">
                  <c:v>0.79816423130731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4804669979695007E-4</c:v>
                </c:pt>
                <c:pt idx="5">
                  <c:v>2.229863540531446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691618756728132E-2</c:v>
                </c:pt>
                <c:pt idx="5">
                  <c:v>0.984293683057960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7349129115177414</c:v>
                </c:pt>
                <c:pt idx="5">
                  <c:v>0.826508708848225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325584622743983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2356440195470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4782936356558503E-3</c:v>
                </c:pt>
                <c:pt idx="5">
                  <c:v>0.998521706364344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4778906377430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0043904862287075E-3</c:v>
                </c:pt>
                <c:pt idx="4">
                  <c:v>0.48244470402663914</c:v>
                </c:pt>
                <c:pt idx="5">
                  <c:v>0.511549067008742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7135287829923273E-2</c:v>
                </c:pt>
                <c:pt idx="4">
                  <c:v>0.96218252035011009</c:v>
                </c:pt>
                <c:pt idx="5">
                  <c:v>1.05926236278515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3005853415440221E-4</c:v>
                </c:pt>
                <c:pt idx="5">
                  <c:v>9.845993218754697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5491384163766513</c:v>
                </c:pt>
                <c:pt idx="5">
                  <c:v>0.545086158362334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313980858004695E-3</c:v>
                </c:pt>
                <c:pt idx="5">
                  <c:v>1.483064000460595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8158784715439398E-2</c:v>
                </c:pt>
                <c:pt idx="4">
                  <c:v>0.93052216816424571</c:v>
                </c:pt>
                <c:pt idx="5">
                  <c:v>2.131904712031498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1934963036749651E-4</c:v>
                </c:pt>
                <c:pt idx="5">
                  <c:v>1.293150557293274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2925219022994495</c:v>
                </c:pt>
                <c:pt idx="5">
                  <c:v>0.670747809770054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969444933101009</c:v>
                </c:pt>
                <c:pt idx="5">
                  <c:v>0.69030555066899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6694357771583469E-3</c:v>
                </c:pt>
                <c:pt idx="5">
                  <c:v>0.990330564222841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515114969981056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1.1214428017079657E-2</c:v>
                </c:pt>
                <c:pt idx="4">
                  <c:v>0.39316479699998952</c:v>
                </c:pt>
                <c:pt idx="5">
                  <c:v>0.595620636070036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110215436405622</c:v>
                </c:pt>
                <c:pt idx="5">
                  <c:v>0.58897845635943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8724017404071293E-2</c:v>
                </c:pt>
                <c:pt idx="4">
                  <c:v>0.89975416335213909</c:v>
                </c:pt>
                <c:pt idx="5">
                  <c:v>1.15207202342994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628799712361637</c:v>
                </c:pt>
                <c:pt idx="5">
                  <c:v>0.693712002876383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48547039866676</c:v>
                </c:pt>
                <c:pt idx="5">
                  <c:v>0.745145296013332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8151937470294337E-3</c:v>
                </c:pt>
                <c:pt idx="4">
                  <c:v>0.36698207522821719</c:v>
                </c:pt>
                <c:pt idx="5">
                  <c:v>0.629201810395482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4286208207628E-3</c:v>
                </c:pt>
                <c:pt idx="4">
                  <c:v>0.98967996785572576</c:v>
                </c:pt>
                <c:pt idx="5">
                  <c:v>1.00574593606659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67893497806912E-3</c:v>
                </c:pt>
                <c:pt idx="4">
                  <c:v>0.98969537181270861</c:v>
                </c:pt>
                <c:pt idx="5">
                  <c:v>9.8783883751082545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904707707674907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2.251118543046727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7237631000963556</c:v>
                </c:pt>
                <c:pt idx="5">
                  <c:v>0.627623689990364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62817327035301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8546255761932988E-2</c:v>
                </c:pt>
                <c:pt idx="4">
                  <c:v>0.95752966281054608</c:v>
                </c:pt>
                <c:pt idx="5">
                  <c:v>1.39222702153828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729480017267349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329564451518511</c:v>
                </c:pt>
                <c:pt idx="5">
                  <c:v>0.866704355484814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6126578770870303E-2</c:v>
                </c:pt>
                <c:pt idx="5">
                  <c:v>0.933873421229129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2460926377875E-2</c:v>
                </c:pt>
                <c:pt idx="5">
                  <c:v>0.98467753907362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7587220883452E-2</c:v>
                </c:pt>
                <c:pt idx="5">
                  <c:v>0.984672412779116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8151937470294337E-3</c:v>
                </c:pt>
                <c:pt idx="4">
                  <c:v>0.36698207522821719</c:v>
                </c:pt>
                <c:pt idx="5">
                  <c:v>0.629201810395482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2.750057649220894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7237631000963556</c:v>
                </c:pt>
                <c:pt idx="5">
                  <c:v>0.627623689990364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501410916196437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038037809499322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8546255761932988E-2</c:v>
                </c:pt>
                <c:pt idx="4">
                  <c:v>0.95752966281054608</c:v>
                </c:pt>
                <c:pt idx="5">
                  <c:v>1.39222702153828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2536258353921307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329564451518511</c:v>
                </c:pt>
                <c:pt idx="5">
                  <c:v>0.866704355484814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6126578770870303E-2</c:v>
                </c:pt>
                <c:pt idx="5">
                  <c:v>0.933873421229129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2460926377875E-2</c:v>
                </c:pt>
                <c:pt idx="5">
                  <c:v>0.98467753907362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7135287829923273E-2</c:v>
                </c:pt>
                <c:pt idx="4">
                  <c:v>0.96218252035011009</c:v>
                </c:pt>
                <c:pt idx="5">
                  <c:v>1.05926236278515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7587220883452E-2</c:v>
                </c:pt>
                <c:pt idx="5">
                  <c:v>0.984672412779116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8151937470294337E-3</c:v>
                </c:pt>
                <c:pt idx="4">
                  <c:v>0.36698207522821719</c:v>
                </c:pt>
                <c:pt idx="5">
                  <c:v>0.629201810395482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59323686618140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7237631000963556</c:v>
                </c:pt>
                <c:pt idx="5">
                  <c:v>0.627623689990364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901970243819946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8546255761932988E-2</c:v>
                </c:pt>
                <c:pt idx="4">
                  <c:v>0.95752966281054608</c:v>
                </c:pt>
                <c:pt idx="5">
                  <c:v>1.39222702153828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308091585350249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2.412044103027059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8231035371234139E-3</c:v>
                </c:pt>
                <c:pt idx="5">
                  <c:v>8.541456285962463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329564451518511</c:v>
                </c:pt>
                <c:pt idx="5">
                  <c:v>0.866704355484814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0850788674914535E-3</c:v>
                </c:pt>
                <c:pt idx="5">
                  <c:v>9.494602653907464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6126578770870303E-2</c:v>
                </c:pt>
                <c:pt idx="5">
                  <c:v>0.933873421229129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4.8202240786807821E-3</c:v>
                </c:pt>
                <c:pt idx="5">
                  <c:v>0.1127746169669212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2460926377875E-2</c:v>
                </c:pt>
                <c:pt idx="5">
                  <c:v>0.98467753907362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13491897843372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4029418547897473E-3</c:v>
                </c:pt>
                <c:pt idx="4">
                  <c:v>0.31570251627221058</c:v>
                </c:pt>
                <c:pt idx="5">
                  <c:v>0.677872785631483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7587220883452E-2</c:v>
                </c:pt>
                <c:pt idx="5">
                  <c:v>0.984672412779116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135647756597255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09821276834247</c:v>
                </c:pt>
                <c:pt idx="5">
                  <c:v>0.800899293927655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0.204385417003162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0183576869268158</c:v>
                </c:pt>
                <c:pt idx="5">
                  <c:v>0.79816423130731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8456622879144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691618756728132E-2</c:v>
                </c:pt>
                <c:pt idx="5">
                  <c:v>0.984293683057960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341935612729960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7349129115177414</c:v>
                </c:pt>
                <c:pt idx="5">
                  <c:v>0.826508708848225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2.32687118883974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7.200548776721844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034609551599965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4782936356558503E-3</c:v>
                </c:pt>
                <c:pt idx="5">
                  <c:v>0.998521706364344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764785442465831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0043904862287075E-3</c:v>
                </c:pt>
                <c:pt idx="4">
                  <c:v>0.48244470402663914</c:v>
                </c:pt>
                <c:pt idx="5">
                  <c:v>0.511549067008742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5491384163766513</c:v>
                </c:pt>
                <c:pt idx="5">
                  <c:v>0.545086158362334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8158784715439398E-2</c:v>
                </c:pt>
                <c:pt idx="4">
                  <c:v>0.93052216816424571</c:v>
                </c:pt>
                <c:pt idx="5">
                  <c:v>2.131904712031498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2925219022994495</c:v>
                </c:pt>
                <c:pt idx="5">
                  <c:v>0.670747809770054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969444933101009</c:v>
                </c:pt>
                <c:pt idx="5">
                  <c:v>0.69030555066899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6694357771583469E-3</c:v>
                </c:pt>
                <c:pt idx="5">
                  <c:v>0.990330564222841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2">
                  <c:v>1.1214428017079657E-2</c:v>
                </c:pt>
                <c:pt idx="4">
                  <c:v>0.39316479699998952</c:v>
                </c:pt>
                <c:pt idx="5">
                  <c:v>0.595620636070036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110215436405622</c:v>
                </c:pt>
                <c:pt idx="5">
                  <c:v>0.588978456359437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5384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93095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4997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35260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69176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86627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417667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50722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5881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1678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7716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5893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8631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7728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08913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3315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74137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46313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0966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761416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3126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2556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33612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1013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29009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161213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0807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69254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8195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84179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63137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28202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9666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452942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59090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27153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718676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02101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28976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84114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58791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81865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287912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6446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61600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41273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33593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64304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87920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024291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93502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519606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93131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52985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7764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083807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565666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98770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588971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60261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526408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87439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8520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36941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7788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77972">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77972">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77972">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77972">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77972">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77972">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6697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4533</Words>
  <Application>Microsoft Office PowerPoint</Application>
  <PresentationFormat>On-screen Show (16:9)</PresentationFormat>
  <Paragraphs>1242</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5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